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19"/>
  </p:notesMasterIdLst>
  <p:handoutMasterIdLst>
    <p:handoutMasterId r:id="rId20"/>
  </p:handoutMasterIdLst>
  <p:sldIdLst>
    <p:sldId id="321" r:id="rId4"/>
    <p:sldId id="330" r:id="rId5"/>
    <p:sldId id="290" r:id="rId6"/>
    <p:sldId id="331" r:id="rId7"/>
    <p:sldId id="294" r:id="rId8"/>
    <p:sldId id="332" r:id="rId9"/>
    <p:sldId id="333" r:id="rId10"/>
    <p:sldId id="335" r:id="rId11"/>
    <p:sldId id="336" r:id="rId12"/>
    <p:sldId id="337" r:id="rId13"/>
    <p:sldId id="338" r:id="rId14"/>
    <p:sldId id="339" r:id="rId15"/>
    <p:sldId id="340" r:id="rId16"/>
    <p:sldId id="341" r:id="rId17"/>
    <p:sldId id="343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332"/>
            <p14:sldId id="333"/>
            <p14:sldId id="335"/>
            <p14:sldId id="336"/>
            <p14:sldId id="337"/>
            <p14:sldId id="338"/>
            <p14:sldId id="339"/>
            <p14:sldId id="340"/>
            <p14:sldId id="341"/>
            <p14:sldId id="34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07CB"/>
    <a:srgbClr val="1DA8E7"/>
    <a:srgbClr val="F300D6"/>
    <a:srgbClr val="3366FF"/>
    <a:srgbClr val="CC071E"/>
    <a:srgbClr val="0CE6CF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89655" autoAdjust="0"/>
  </p:normalViewPr>
  <p:slideViewPr>
    <p:cSldViewPr snapToGrid="0" snapToObjects="1" showGuides="1">
      <p:cViewPr varScale="1">
        <p:scale>
          <a:sx n="66" d="100"/>
          <a:sy n="66" d="100"/>
        </p:scale>
        <p:origin x="1086" y="66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1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18257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F1D8C-1739-DDC6-D7FE-DFC420EEE3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98F064-8248-C91F-00EC-551CBBFF38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12158"/>
            <a:ext cx="6121200" cy="13254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vi-VN"/>
              <a:t>Ceramics: celadon glaze, white-and-blue, lotus &amp; dragon motif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Jewelry: gold and silver, delicate carvings, pearl ornament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Strong influence of Buddhism → lotus and phoenix designs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51B866-1AF6-2E90-CE7D-E667EAAFA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ý &amp; Trần Dynasties (11th–14th centuries)</a:t>
            </a:r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7257BFFB-1BB7-E9D6-7EA0-EB7D8D6FC7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633108DD-E98E-4D13-FBCB-5D0FF2B6A8A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7">
            <a:extLst>
              <a:ext uri="{FF2B5EF4-FFF2-40B4-BE49-F238E27FC236}">
                <a16:creationId xmlns:a16="http://schemas.microsoft.com/office/drawing/2014/main" id="{2D9A53E4-DA39-DEF7-33E0-B8886E6D30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DB594B4A-E21A-7F51-6FB3-03240EA6034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00800" y="3733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D2F429-A022-7B94-2CD1-0CE47C2F15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58000" y="1212158"/>
            <a:ext cx="5178806" cy="517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608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E589145-28B6-A540-FAA9-E313334D5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ý &amp; Trần Dynasties (11th–14th centuries)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8DA83BC4-34BE-71B8-09FA-BA8A9EE83C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AB5873-45DD-4D54-1F30-3DE34E7FFB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673" y="1098000"/>
            <a:ext cx="9417854" cy="5299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1572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4BF375-8D9E-B307-3A06-A892E99C27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F205EC-A330-BDA5-2C6F-093BB6B0E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ý &amp; Trần Dynasties (11th–14th centuries)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CD1C73DE-9AF6-937C-3ED7-CA5A5AF77FE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35C4E645-5AA3-0034-255F-626D79049F3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379010-2F78-F4DD-4DFD-60BC8D82031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1999" y="1226336"/>
            <a:ext cx="4079295" cy="54355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C801B6B-CCDF-B43E-E221-1B22F75D246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487" y="1925225"/>
            <a:ext cx="7175058" cy="4037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766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FEBCB1-A6CF-D99D-D0C1-C0B4BF44C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8FB062-EA3C-4016-EBAE-4394E93AB9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212158"/>
            <a:ext cx="11535411" cy="267404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/>
              <a:t>Ceramics: blue-and-white porcelain, brown-glazed ware, imperial wares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/>
              <a:t>Jewelry: rings, hairpins, jade pendants, royal ornaments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/>
              <a:t>Influences: China and Europe → more diverse designs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FF1F6C-6296-EAC3-A44C-A645A7215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ê &amp; Nguyễn Dynasties (15th–19th centuries)</a:t>
            </a:r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9F740E70-3A92-B7F5-78BA-AB13B76405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93B7B1C4-D679-6ECD-FFF8-A53A3BE9DD5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7">
            <a:extLst>
              <a:ext uri="{FF2B5EF4-FFF2-40B4-BE49-F238E27FC236}">
                <a16:creationId xmlns:a16="http://schemas.microsoft.com/office/drawing/2014/main" id="{B41EB6DA-84FB-44E1-B8C9-E6BB0E82A10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580A8014-44E6-67EB-FE0A-B2B6847A2AB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00800" y="3733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3">
            <a:extLst>
              <a:ext uri="{FF2B5EF4-FFF2-40B4-BE49-F238E27FC236}">
                <a16:creationId xmlns:a16="http://schemas.microsoft.com/office/drawing/2014/main" id="{6F4ACF48-8E51-7271-80D3-3DEB4504DB5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53200" y="3886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30909-3463-0959-89CA-3A977E317AF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999" y="3059905"/>
            <a:ext cx="5623206" cy="31644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647753-0ED9-C5ED-7908-0E119ABB21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9704" y="3059905"/>
            <a:ext cx="5664001" cy="316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2028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134FF6-4FDC-6F6A-CEAE-711780142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tistic &amp; Cultural Values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3163FBA5-2D40-587F-D6F7-C3522B4EB335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431999" y="1334608"/>
            <a:ext cx="738535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ivity &amp; Craftsmanship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– advanced techniques over centurie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ymbolism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– reflect beliefs, religion, and power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dentity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– connect past and present through cultural heritage</a:t>
            </a: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F6CBA53-5416-E64F-9D19-05594D8F922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5">
            <a:extLst>
              <a:ext uri="{FF2B5EF4-FFF2-40B4-BE49-F238E27FC236}">
                <a16:creationId xmlns:a16="http://schemas.microsoft.com/office/drawing/2014/main" id="{3B663067-E8A5-1A33-9E2A-CDBA2A8CEEE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F52CDF-C870-5716-5E01-9B79687481C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1999" y="2539142"/>
            <a:ext cx="11328002" cy="412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0336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A4C3384-5027-4C77-97D2-F40BD1AEF5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Questions &amp; Discussion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7975115-F9F1-847B-75B3-ECD8750290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Thank you for listening</a:t>
            </a:r>
            <a:endParaRPr lang="en-US" altLang="en-US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BC7966D-E564-D984-0228-9B1A860065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0"/>
          <a:stretch>
            <a:fillRect/>
          </a:stretch>
        </p:blipFill>
        <p:spPr>
          <a:xfrm>
            <a:off x="428626" y="882316"/>
            <a:ext cx="11334748" cy="3984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920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5/08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/>
              <a:t>Ypp 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esented by: Luong Tuyet Mi – Intern, BBV Vietnam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5/08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The Art of Ceramics and Jewelry in Vietnamese History</a:t>
            </a:r>
            <a:endParaRPr lang="en-GB" noProof="0"/>
          </a:p>
        </p:txBody>
      </p:sp>
      <p:pic>
        <p:nvPicPr>
          <p:cNvPr id="1032" name="Picture 8" descr="The Flourishing Periods Of Vietnamese Ceramics">
            <a:extLst>
              <a:ext uri="{FF2B5EF4-FFF2-40B4-BE49-F238E27FC236}">
                <a16:creationId xmlns:a16="http://schemas.microsoft.com/office/drawing/2014/main" id="{A1DA6904-979B-A21F-88F9-79D4EC8A3C14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Prehistoric Period </a:t>
            </a:r>
          </a:p>
          <a:p>
            <a:r>
              <a:rPr lang="en-US"/>
              <a:t>Champa &amp; Óc Eo Cultures </a:t>
            </a:r>
          </a:p>
          <a:p>
            <a:r>
              <a:rPr lang="en-US"/>
              <a:t>Lý &amp; Trần Dynasties</a:t>
            </a:r>
          </a:p>
          <a:p>
            <a:r>
              <a:rPr lang="en-US"/>
              <a:t>Lê &amp; Nguyễn Dynasties</a:t>
            </a:r>
          </a:p>
          <a:p>
            <a:r>
              <a:rPr lang="en-US"/>
              <a:t>Artistic and Cultural Values</a:t>
            </a:r>
          </a:p>
          <a:p>
            <a:r>
              <a:rPr lang="en-US"/>
              <a:t>Q &amp; 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pic>
        <p:nvPicPr>
          <p:cNvPr id="2052" name="Picture 4" descr="The charm of Vietnamese ceramics in the flow of history">
            <a:extLst>
              <a:ext uri="{FF2B5EF4-FFF2-40B4-BE49-F238E27FC236}">
                <a16:creationId xmlns:a16="http://schemas.microsoft.com/office/drawing/2014/main" id="{5CEEDC9A-7D22-E72D-4A67-B61425BE1870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48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Exploring cultural treasures through historical artifacts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2668753-AE01-D243-1CA4-27C2F4130C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30000"/>
            <a:ext cx="5232000" cy="21276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Vietnamese history reflected in art and artifac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eramics and jewelry: everyday objects, yet cultural symbol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reserved at the History Museum of Ho Chi Minh City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6776EB-B990-E5D6-297F-298D4C161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  <p:pic>
        <p:nvPicPr>
          <p:cNvPr id="4099" name="Picture 3" descr="Bảo tàng Lịch sử Thành phố Hồ Chí Minh – Wikipedia tiếng Việt">
            <a:extLst>
              <a:ext uri="{FF2B5EF4-FFF2-40B4-BE49-F238E27FC236}">
                <a16:creationId xmlns:a16="http://schemas.microsoft.com/office/drawing/2014/main" id="{67436AAC-CCB1-E0E7-29F2-12B203B0778E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3946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EE8FBB-6AFB-3641-B51C-7BACFF729A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12158"/>
            <a:ext cx="10219958" cy="13254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vi-VN"/>
              <a:t>Early pottery: handmade, simple shapes, geometric pattern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Ornaments: stone beads, jade earrings, shell necklace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Cultures: Đông Sơn (bronze drums), Sa Huỳnh (ear ornaments)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6893B2-4BC7-E366-C843-0B34B64BC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historic Period (2,000–3,000 years ago)</a:t>
            </a:r>
          </a:p>
        </p:txBody>
      </p:sp>
      <p:pic>
        <p:nvPicPr>
          <p:cNvPr id="5124" name="Picture 4" descr="Phát hiện và nghiên cứu văn hóa Sa Huỳnh (1909 - 2019) - Phần 2 - THÁNH ĐỊA  VIỆT NAM HỌC">
            <a:extLst>
              <a:ext uri="{FF2B5EF4-FFF2-40B4-BE49-F238E27FC236}">
                <a16:creationId xmlns:a16="http://schemas.microsoft.com/office/drawing/2014/main" id="{7694245B-BC09-E51C-8967-B13465E57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9426" y="2997000"/>
            <a:ext cx="4975058" cy="3009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>
            <a:extLst>
              <a:ext uri="{FF2B5EF4-FFF2-40B4-BE49-F238E27FC236}">
                <a16:creationId xmlns:a16="http://schemas.microsoft.com/office/drawing/2014/main" id="{3C30DC42-25AA-1C36-1FA7-1B3D10E411B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0DFE01-521D-AAAA-02E9-A8EE6BDF613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" y="2997000"/>
            <a:ext cx="4572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5228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BBAF5-3C68-EC64-D2E8-A7924E763F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052EED-C181-0A5B-A386-54A8A03B0D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12158"/>
            <a:ext cx="10219958" cy="13254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vi-VN"/>
              <a:t>Ceramics: simple, functional, influenced by India &amp; Buddhism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Jewelry: gold rings, gemstone pendants, large ear ornament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Highlights: Óc Eo gold jewelry, Champa sculptures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A4C644-91EF-BD11-D6ED-9E68F8521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mpa &amp; Óc Eo Cultures (1st–9th centuries)</a:t>
            </a:r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1DA6148A-566E-59DF-2FDF-7C7BA52C775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147" name="Picture 3">
            <a:extLst>
              <a:ext uri="{FF2B5EF4-FFF2-40B4-BE49-F238E27FC236}">
                <a16:creationId xmlns:a16="http://schemas.microsoft.com/office/drawing/2014/main" id="{B1A7478E-4D29-7A38-2C7F-507FDD7AD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999" y="2821669"/>
            <a:ext cx="5141913" cy="3428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5">
            <a:extLst>
              <a:ext uri="{FF2B5EF4-FFF2-40B4-BE49-F238E27FC236}">
                <a16:creationId xmlns:a16="http://schemas.microsoft.com/office/drawing/2014/main" id="{CEF20D18-D082-DFC7-B547-6DB00A85CC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7">
            <a:extLst>
              <a:ext uri="{FF2B5EF4-FFF2-40B4-BE49-F238E27FC236}">
                <a16:creationId xmlns:a16="http://schemas.microsoft.com/office/drawing/2014/main" id="{EDB010BE-9DDB-E63E-B3FD-34568DE7F9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CCDEEF-4CED-79BA-869C-AF5D3557695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3600" y="2821669"/>
            <a:ext cx="6092403" cy="3428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041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A4E62E-1B7A-7210-259F-437387ED3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mpa &amp; Óc Eo Cultures (1st–9th centuries)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83C9528B-0F63-BA9B-45A1-63CB69E2D56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95EB14-52C0-F56D-9EBA-344F14CCB17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999" y="2019300"/>
            <a:ext cx="5551715" cy="3124200"/>
          </a:xfrm>
          <a:prstGeom prst="rect">
            <a:avLst/>
          </a:prstGeom>
        </p:spPr>
      </p:pic>
      <p:sp>
        <p:nvSpPr>
          <p:cNvPr id="7" name="AutoShape 4">
            <a:extLst>
              <a:ext uri="{FF2B5EF4-FFF2-40B4-BE49-F238E27FC236}">
                <a16:creationId xmlns:a16="http://schemas.microsoft.com/office/drawing/2014/main" id="{6A80B704-76A5-44C7-C6FC-1AEEF5384E9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E739BB-A44D-D129-0BEA-F6BE24D581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8287" y="2019300"/>
            <a:ext cx="5551714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567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2566</TotalTime>
  <Words>331</Words>
  <Application>Microsoft Office PowerPoint</Application>
  <PresentationFormat>Widescreen</PresentationFormat>
  <Paragraphs>49</Paragraphs>
  <Slides>1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bbv template EN</vt:lpstr>
      <vt:lpstr>think-cell Slide</vt:lpstr>
      <vt:lpstr>PowerPoint Presentation</vt:lpstr>
      <vt:lpstr>Ypp 4</vt:lpstr>
      <vt:lpstr>The Art of Ceramics and Jewelry in Vietnamese History</vt:lpstr>
      <vt:lpstr>Agenda</vt:lpstr>
      <vt:lpstr>Introduction</vt:lpstr>
      <vt:lpstr>Introduction</vt:lpstr>
      <vt:lpstr>Prehistoric Period (2,000–3,000 years ago)</vt:lpstr>
      <vt:lpstr>Champa &amp; Óc Eo Cultures (1st–9th centuries)</vt:lpstr>
      <vt:lpstr>Champa &amp; Óc Eo Cultures (1st–9th centuries)</vt:lpstr>
      <vt:lpstr>Lý &amp; Trần Dynasties (11th–14th centuries)</vt:lpstr>
      <vt:lpstr>Lý &amp; Trần Dynasties (11th–14th centuries)</vt:lpstr>
      <vt:lpstr>Lý &amp; Trần Dynasties (11th–14th centuries)</vt:lpstr>
      <vt:lpstr>Lê &amp; Nguyễn Dynasties (15th–19th centuries)</vt:lpstr>
      <vt:lpstr>Artistic &amp; Cultural Values</vt:lpstr>
      <vt:lpstr>Questions &amp; Discus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36</cp:revision>
  <dcterms:created xsi:type="dcterms:W3CDTF">2025-07-10T03:51:23Z</dcterms:created>
  <dcterms:modified xsi:type="dcterms:W3CDTF">2025-08-24T19:21:29Z</dcterms:modified>
</cp:coreProperties>
</file>